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17"/>
  </p:notesMasterIdLst>
  <p:handoutMasterIdLst>
    <p:handoutMasterId r:id="rId18"/>
  </p:handoutMasterIdLst>
  <p:sldIdLst>
    <p:sldId id="356" r:id="rId7"/>
    <p:sldId id="371" r:id="rId8"/>
    <p:sldId id="376" r:id="rId9"/>
    <p:sldId id="375" r:id="rId10"/>
    <p:sldId id="374" r:id="rId11"/>
    <p:sldId id="370" r:id="rId12"/>
    <p:sldId id="372" r:id="rId13"/>
    <p:sldId id="373" r:id="rId14"/>
    <p:sldId id="377" r:id="rId15"/>
    <p:sldId id="279" r:id="rId16"/>
  </p:sldIdLst>
  <p:sldSz cx="9144000" cy="5143500" type="screen16x9"/>
  <p:notesSz cx="9925050" cy="6665913"/>
  <p:custDataLst>
    <p:tags r:id="rId1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2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43"/>
  </p:normalViewPr>
  <p:slideViewPr>
    <p:cSldViewPr snapToGrid="0">
      <p:cViewPr varScale="1">
        <p:scale>
          <a:sx n="140" d="100"/>
          <a:sy n="140" d="100"/>
        </p:scale>
        <p:origin x="840" y="184"/>
      </p:cViewPr>
      <p:guideLst>
        <p:guide orient="horz" pos="1620"/>
        <p:guide pos="2880"/>
        <p:guide orient="horz" pos="12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00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6/11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6/11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95650" y="500063"/>
            <a:ext cx="33337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782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5427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6DD26-32A4-2A43-990A-6F7E5E73786E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AF604-6CBA-6F4A-A6F6-26E48A4D0EE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9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321641"/>
            <a:ext cx="8508999" cy="3524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745751"/>
            <a:ext cx="85089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25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11153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wmf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3" r:id="rId2"/>
    <p:sldLayoutId id="2147483714" r:id="rId3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TUM_Glockenturm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8326" y="2288521"/>
            <a:ext cx="2919367" cy="2548064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de-DE" dirty="0"/>
              <a:t>Lorenzo </a:t>
            </a:r>
            <a:r>
              <a:rPr lang="de-DE" dirty="0" err="1"/>
              <a:t>Brazzi</a:t>
            </a:r>
            <a:r>
              <a:rPr lang="de-DE" dirty="0"/>
              <a:t>, Ikbal </a:t>
            </a:r>
            <a:r>
              <a:rPr lang="de-DE" dirty="0" err="1"/>
              <a:t>Yesiltas</a:t>
            </a:r>
            <a:r>
              <a:rPr lang="de-DE" dirty="0"/>
              <a:t>, Patrick Reto, Markus Zuber</a:t>
            </a:r>
          </a:p>
          <a:p>
            <a:r>
              <a:rPr lang="de-DE" dirty="0"/>
              <a:t>Technische Universität München</a:t>
            </a:r>
          </a:p>
          <a:p>
            <a:r>
              <a:rPr lang="de-DE" dirty="0"/>
              <a:t>Präsentation für den Notenbonus in</a:t>
            </a:r>
          </a:p>
          <a:p>
            <a:r>
              <a:rPr lang="de-DE" dirty="0"/>
              <a:t>Praktikum XML-Technologie</a:t>
            </a:r>
          </a:p>
          <a:p>
            <a:r>
              <a:rPr lang="de-DE" dirty="0"/>
              <a:t>28.11.2019</a:t>
            </a:r>
            <a:endParaRPr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ocBook</a:t>
            </a:r>
            <a:r>
              <a:rPr lang="de-DE" dirty="0"/>
              <a:t> Dokumentation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Freeform 180"/>
          <p:cNvSpPr/>
          <p:nvPr/>
        </p:nvSpPr>
        <p:spPr>
          <a:xfrm>
            <a:off x="8210550" y="311150"/>
            <a:ext cx="603250" cy="323850"/>
          </a:xfrm>
          <a:custGeom>
            <a:avLst/>
            <a:gdLst>
              <a:gd name="connsiteX0" fmla="*/ 8308 w 603250"/>
              <a:gd name="connsiteY0" fmla="*/ 13394 h 323850"/>
              <a:gd name="connsiteX1" fmla="*/ 245253 w 603250"/>
              <a:gd name="connsiteY1" fmla="*/ 13394 h 323850"/>
              <a:gd name="connsiteX2" fmla="*/ 245254 w 603250"/>
              <a:gd name="connsiteY2" fmla="*/ 274824 h 323850"/>
              <a:gd name="connsiteX3" fmla="*/ 310553 w 603250"/>
              <a:gd name="connsiteY3" fmla="*/ 274824 h 323850"/>
              <a:gd name="connsiteX4" fmla="*/ 310553 w 603250"/>
              <a:gd name="connsiteY4" fmla="*/ 13394 h 323850"/>
              <a:gd name="connsiteX5" fmla="*/ 613305 w 603250"/>
              <a:gd name="connsiteY5" fmla="*/ 13394 h 323850"/>
              <a:gd name="connsiteX6" fmla="*/ 613305 w 603250"/>
              <a:gd name="connsiteY6" fmla="*/ 331987 h 323850"/>
              <a:gd name="connsiteX7" fmla="*/ 556135 w 603250"/>
              <a:gd name="connsiteY7" fmla="*/ 331987 h 323850"/>
              <a:gd name="connsiteX8" fmla="*/ 556135 w 603250"/>
              <a:gd name="connsiteY8" fmla="*/ 70559 h 323850"/>
              <a:gd name="connsiteX9" fmla="*/ 490453 w 603250"/>
              <a:gd name="connsiteY9" fmla="*/ 70559 h 323850"/>
              <a:gd name="connsiteX10" fmla="*/ 490454 w 603250"/>
              <a:gd name="connsiteY10" fmla="*/ 331987 h 323850"/>
              <a:gd name="connsiteX11" fmla="*/ 433283 w 603250"/>
              <a:gd name="connsiteY11" fmla="*/ 331987 h 323850"/>
              <a:gd name="connsiteX12" fmla="*/ 433283 w 603250"/>
              <a:gd name="connsiteY12" fmla="*/ 70559 h 323850"/>
              <a:gd name="connsiteX13" fmla="*/ 367724 w 603250"/>
              <a:gd name="connsiteY13" fmla="*/ 70558 h 323850"/>
              <a:gd name="connsiteX14" fmla="*/ 367724 w 603250"/>
              <a:gd name="connsiteY14" fmla="*/ 331987 h 323850"/>
              <a:gd name="connsiteX15" fmla="*/ 187951 w 603250"/>
              <a:gd name="connsiteY15" fmla="*/ 331987 h 323850"/>
              <a:gd name="connsiteX16" fmla="*/ 187951 w 603250"/>
              <a:gd name="connsiteY16" fmla="*/ 70558 h 323850"/>
              <a:gd name="connsiteX17" fmla="*/ 122651 w 603250"/>
              <a:gd name="connsiteY17" fmla="*/ 70558 h 323850"/>
              <a:gd name="connsiteX18" fmla="*/ 122651 w 603250"/>
              <a:gd name="connsiteY18" fmla="*/ 331987 h 323850"/>
              <a:gd name="connsiteX19" fmla="*/ 65481 w 603250"/>
              <a:gd name="connsiteY19" fmla="*/ 331987 h 323850"/>
              <a:gd name="connsiteX20" fmla="*/ 65480 w 603250"/>
              <a:gd name="connsiteY20" fmla="*/ 70558 h 323850"/>
              <a:gd name="connsiteX21" fmla="*/ 8308 w 603250"/>
              <a:gd name="connsiteY21" fmla="*/ 70558 h 323850"/>
              <a:gd name="connsiteX22" fmla="*/ 8308 w 603250"/>
              <a:gd name="connsiteY22" fmla="*/ 13394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03250" h="323850">
                <a:moveTo>
                  <a:pt x="8308" y="13394"/>
                </a:moveTo>
                <a:lnTo>
                  <a:pt x="245253" y="13394"/>
                </a:lnTo>
                <a:lnTo>
                  <a:pt x="245254" y="274824"/>
                </a:lnTo>
                <a:lnTo>
                  <a:pt x="310553" y="274824"/>
                </a:lnTo>
                <a:lnTo>
                  <a:pt x="310553" y="13394"/>
                </a:lnTo>
                <a:lnTo>
                  <a:pt x="613305" y="13394"/>
                </a:lnTo>
                <a:lnTo>
                  <a:pt x="613305" y="331987"/>
                </a:lnTo>
                <a:lnTo>
                  <a:pt x="556135" y="331987"/>
                </a:lnTo>
                <a:lnTo>
                  <a:pt x="556135" y="70559"/>
                </a:lnTo>
                <a:lnTo>
                  <a:pt x="490453" y="70559"/>
                </a:lnTo>
                <a:lnTo>
                  <a:pt x="490454" y="331987"/>
                </a:lnTo>
                <a:lnTo>
                  <a:pt x="433283" y="331987"/>
                </a:lnTo>
                <a:lnTo>
                  <a:pt x="433283" y="70559"/>
                </a:lnTo>
                <a:lnTo>
                  <a:pt x="367724" y="70558"/>
                </a:lnTo>
                <a:lnTo>
                  <a:pt x="367724" y="331987"/>
                </a:lnTo>
                <a:lnTo>
                  <a:pt x="187951" y="331987"/>
                </a:lnTo>
                <a:lnTo>
                  <a:pt x="187951" y="70558"/>
                </a:lnTo>
                <a:lnTo>
                  <a:pt x="122651" y="70558"/>
                </a:lnTo>
                <a:lnTo>
                  <a:pt x="122651" y="331987"/>
                </a:lnTo>
                <a:lnTo>
                  <a:pt x="65481" y="331987"/>
                </a:lnTo>
                <a:lnTo>
                  <a:pt x="65480" y="70558"/>
                </a:lnTo>
                <a:lnTo>
                  <a:pt x="8308" y="70558"/>
                </a:lnTo>
                <a:lnTo>
                  <a:pt x="8308" y="13394"/>
                </a:lnTo>
                <a:close/>
              </a:path>
            </a:pathLst>
          </a:custGeom>
          <a:solidFill>
            <a:srgbClr val="0063B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2" name="Picture 18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0620" y="1455420"/>
            <a:ext cx="3855720" cy="3375660"/>
          </a:xfrm>
          <a:prstGeom prst="rect">
            <a:avLst/>
          </a:prstGeom>
        </p:spPr>
      </p:pic>
      <p:sp>
        <p:nvSpPr>
          <p:cNvPr id="2" name="TextBox 182"/>
          <p:cNvSpPr txBox="1"/>
          <p:nvPr/>
        </p:nvSpPr>
        <p:spPr>
          <a:xfrm>
            <a:off x="319125" y="970434"/>
            <a:ext cx="5156206" cy="14681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Vielen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>
                <a:solidFill>
                  <a:srgbClr val="000000"/>
                </a:solidFill>
                <a:latin typeface="Arial"/>
                <a:ea typeface="Arial"/>
              </a:rPr>
              <a:t>Dank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für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Ihre</a:t>
            </a:r>
            <a:r>
              <a:rPr lang="en-US" altLang="zh-CN" sz="2500" spc="-6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Aufmerksamkeit</a:t>
            </a:r>
            <a:endParaRPr lang="en-US" altLang="zh-CN" sz="2500" dirty="0">
              <a:solidFill>
                <a:srgbClr val="000000"/>
              </a:solidFill>
              <a:latin typeface="Arial"/>
              <a:ea typeface="Arial"/>
            </a:endParaRPr>
          </a:p>
          <a:p>
            <a:pPr>
              <a:lnSpc>
                <a:spcPts val="1169"/>
              </a:lnSpc>
            </a:pPr>
            <a:endParaRPr lang="en-US" dirty="0"/>
          </a:p>
          <a:p>
            <a:pPr hangingPunct="0">
              <a:lnSpc>
                <a:spcPct val="150000"/>
              </a:lnSpc>
            </a:pPr>
            <a:r>
              <a:rPr lang="de-DE" sz="1400" dirty="0"/>
              <a:t>Lorenzo </a:t>
            </a:r>
            <a:r>
              <a:rPr lang="de-DE" sz="1400" dirty="0" err="1"/>
              <a:t>Brazzi</a:t>
            </a:r>
            <a:r>
              <a:rPr lang="de-DE" sz="1400" dirty="0"/>
              <a:t>, Ikbal </a:t>
            </a:r>
            <a:r>
              <a:rPr lang="de-DE" sz="1400" dirty="0" err="1"/>
              <a:t>Yesiltas</a:t>
            </a:r>
            <a:r>
              <a:rPr lang="de-DE" sz="1400" dirty="0"/>
              <a:t>, Patrick Reto, Markus Zuber</a:t>
            </a:r>
            <a:br>
              <a:rPr dirty="0"/>
            </a:br>
            <a:r>
              <a:rPr lang="en-US" altLang="zh-CN" sz="1400" spc="-10" dirty="0" err="1">
                <a:solidFill>
                  <a:srgbClr val="000000"/>
                </a:solidFill>
                <a:latin typeface="Arial"/>
                <a:ea typeface="Arial"/>
              </a:rPr>
              <a:t>Technische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ea typeface="Arial"/>
              </a:rPr>
              <a:t>Universität</a:t>
            </a:r>
            <a:r>
              <a:rPr lang="en-US" altLang="zh-CN" sz="140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10" dirty="0">
                <a:solidFill>
                  <a:srgbClr val="000000"/>
                </a:solidFill>
                <a:latin typeface="Arial"/>
                <a:ea typeface="Arial"/>
              </a:rPr>
              <a:t>München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br>
              <a:rPr dirty="0"/>
            </a:b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München,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28.11.2019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78A35C3-FC4F-C946-A075-804AE4869859}"/>
              </a:ext>
            </a:extLst>
          </p:cNvPr>
          <p:cNvSpPr txBox="1"/>
          <p:nvPr/>
        </p:nvSpPr>
        <p:spPr>
          <a:xfrm>
            <a:off x="755374" y="1804946"/>
            <a:ext cx="7506031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Wir haben das </a:t>
            </a:r>
            <a:r>
              <a:rPr lang="de-DE" sz="1600" dirty="0" err="1">
                <a:latin typeface="+mn-lt"/>
              </a:rPr>
              <a:t>DocBook</a:t>
            </a:r>
            <a:r>
              <a:rPr lang="de-DE" sz="1600" dirty="0">
                <a:latin typeface="+mn-lt"/>
              </a:rPr>
              <a:t> so aufgebaut dass wir die Technologie die wir benutzt haben (XML, XSLT, </a:t>
            </a:r>
            <a:r>
              <a:rPr lang="de-DE" sz="1600" dirty="0" err="1">
                <a:latin typeface="+mn-lt"/>
              </a:rPr>
              <a:t>xQuery</a:t>
            </a:r>
            <a:r>
              <a:rPr lang="de-DE" sz="1600" dirty="0">
                <a:latin typeface="+mn-lt"/>
              </a:rPr>
              <a:t>, </a:t>
            </a:r>
            <a:r>
              <a:rPr lang="de-DE" sz="1600" dirty="0" err="1">
                <a:latin typeface="+mn-lt"/>
              </a:rPr>
              <a:t>xPath</a:t>
            </a:r>
            <a:r>
              <a:rPr lang="de-DE" sz="1600" dirty="0">
                <a:latin typeface="+mn-lt"/>
              </a:rPr>
              <a:t>) erstmal vorgestellt haben</a:t>
            </a:r>
          </a:p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Dazu findet man </a:t>
            </a:r>
            <a:r>
              <a:rPr lang="de-DE" sz="1600" dirty="0" err="1">
                <a:latin typeface="+mn-lt"/>
                <a:sym typeface="Wingdings" pitchFamily="2" charset="2"/>
              </a:rPr>
              <a:t>screenshots</a:t>
            </a:r>
            <a:r>
              <a:rPr lang="de-DE" sz="1600" dirty="0">
                <a:latin typeface="+mn-lt"/>
                <a:sym typeface="Wingdings" pitchFamily="2" charset="2"/>
              </a:rPr>
              <a:t> auf den folgenden Seiten</a:t>
            </a:r>
            <a:endParaRPr lang="de-DE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7649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ML</a:t>
            </a:r>
          </a:p>
        </p:txBody>
      </p:sp>
      <p:pic>
        <p:nvPicPr>
          <p:cNvPr id="8" name="Grafik 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460A96-09D0-DD47-880D-0B75A69E3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271" y="1810474"/>
            <a:ext cx="8579457" cy="152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1214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SVG</a:t>
            </a:r>
          </a:p>
        </p:txBody>
      </p:sp>
      <p:pic>
        <p:nvPicPr>
          <p:cNvPr id="5" name="Grafik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7256CF38-DE25-D84F-9D6D-FD6F0C2376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231" y="1231162"/>
            <a:ext cx="7829538" cy="3332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4325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 err="1"/>
              <a:t>DocBook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34106F0-6CC1-7E45-A429-47EA60503F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230" y="1870980"/>
            <a:ext cx="7829539" cy="1401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1801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SLT</a:t>
            </a:r>
          </a:p>
        </p:txBody>
      </p:sp>
      <p:pic>
        <p:nvPicPr>
          <p:cNvPr id="18" name="Grafik 17" descr="Ein Bild, das Bildschirm, Computer enthält.&#10;&#10;Automatisch generierte Beschreibung">
            <a:extLst>
              <a:ext uri="{FF2B5EF4-FFF2-40B4-BE49-F238E27FC236}">
                <a16:creationId xmlns:a16="http://schemas.microsoft.com/office/drawing/2014/main" id="{21F62656-57E6-6D4A-B8F6-2B130F85A6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60" y="1795101"/>
            <a:ext cx="8412480" cy="1553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2625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und </a:t>
            </a:r>
            <a:r>
              <a:rPr lang="de-DE" dirty="0" err="1"/>
              <a:t>XQuery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51A3FF5-480A-6B49-98D9-A1FEDDDC181A}"/>
              </a:ext>
            </a:extLst>
          </p:cNvPr>
          <p:cNvSpPr/>
          <p:nvPr/>
        </p:nvSpPr>
        <p:spPr>
          <a:xfrm>
            <a:off x="3832529" y="1518300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Controll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5083BE8-5DB0-664B-AC31-50E69F30EDC7}"/>
              </a:ext>
            </a:extLst>
          </p:cNvPr>
          <p:cNvSpPr txBox="1"/>
          <p:nvPr/>
        </p:nvSpPr>
        <p:spPr>
          <a:xfrm>
            <a:off x="3955645" y="1913015"/>
            <a:ext cx="1232710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dirty="0">
                <a:latin typeface="+mn-lt"/>
              </a:rPr>
              <a:t>Funktionsaufruf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D0C8663-FB51-A74F-87AA-47FCC14B12AE}"/>
              </a:ext>
            </a:extLst>
          </p:cNvPr>
          <p:cNvSpPr/>
          <p:nvPr/>
        </p:nvSpPr>
        <p:spPr>
          <a:xfrm>
            <a:off x="534062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3D747E-248A-B44C-B09F-B0575AD5F4EA}"/>
              </a:ext>
            </a:extLst>
          </p:cNvPr>
          <p:cNvSpPr/>
          <p:nvPr/>
        </p:nvSpPr>
        <p:spPr>
          <a:xfrm>
            <a:off x="3832529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85D998F-A2A8-FE4E-A613-2C4A6FA383D2}"/>
              </a:ext>
            </a:extLst>
          </p:cNvPr>
          <p:cNvSpPr/>
          <p:nvPr/>
        </p:nvSpPr>
        <p:spPr>
          <a:xfrm>
            <a:off x="7061463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Dealer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296F13A-4610-2C47-B514-BE7DA5FCE50F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 flipH="1">
            <a:off x="1273533" y="2138077"/>
            <a:ext cx="3298467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C2FA487-0337-4241-910E-D6318661F210}"/>
              </a:ext>
            </a:extLst>
          </p:cNvPr>
          <p:cNvCxnSpPr>
            <a:cxnSpLocks/>
            <a:stCxn id="9" idx="2"/>
            <a:endCxn id="11" idx="0"/>
          </p:cNvCxnSpPr>
          <p:nvPr/>
        </p:nvCxnSpPr>
        <p:spPr>
          <a:xfrm>
            <a:off x="4572000" y="2138077"/>
            <a:ext cx="0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63CF46A-47F1-7B43-9821-D77556C69557}"/>
              </a:ext>
            </a:extLst>
          </p:cNvPr>
          <p:cNvCxnSpPr>
            <a:stCxn id="9" idx="2"/>
            <a:endCxn id="13" idx="0"/>
          </p:cNvCxnSpPr>
          <p:nvPr/>
        </p:nvCxnSpPr>
        <p:spPr>
          <a:xfrm>
            <a:off x="4572000" y="2138077"/>
            <a:ext cx="3228934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312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XQuery</a:t>
            </a:r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D05FEA2-DF3E-EF48-BCCE-C15CA2F11B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9246299"/>
              </p:ext>
            </p:extLst>
          </p:nvPr>
        </p:nvGraphicFramePr>
        <p:xfrm>
          <a:off x="1524000" y="1216344"/>
          <a:ext cx="6096000" cy="29667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28126836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67035190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0921264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Dea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438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reatePlay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First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wGa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418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bi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Second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heckWinners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150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t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shuffl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heckBalanc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5338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andOu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408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suranc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setActivePlay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651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computeValu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9469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assignCard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81214"/>
                  </a:ext>
                </a:extLst>
              </a:tr>
            </a:tbl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9334603C-7539-B041-996E-5BCD9008E44E}"/>
              </a:ext>
            </a:extLst>
          </p:cNvPr>
          <p:cNvSpPr txBox="1"/>
          <p:nvPr/>
        </p:nvSpPr>
        <p:spPr>
          <a:xfrm>
            <a:off x="3156667" y="4345880"/>
            <a:ext cx="2898229" cy="2573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</a:t>
            </a:r>
            <a:r>
              <a:rPr lang="de-DE" sz="1600" dirty="0">
                <a:latin typeface="+mn-lt"/>
              </a:rPr>
              <a:t>mit jeweiligen Hilfsfunktionen</a:t>
            </a:r>
          </a:p>
        </p:txBody>
      </p:sp>
    </p:spTree>
    <p:extLst>
      <p:ext uri="{BB962C8B-B14F-4D97-AF65-F5344CB8AC3E}">
        <p14:creationId xmlns:p14="http://schemas.microsoft.com/office/powerpoint/2010/main" val="8585436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 im </a:t>
            </a:r>
            <a:r>
              <a:rPr lang="de-DE" dirty="0" err="1"/>
              <a:t>DocBoo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4764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F39E7027-915F-7341-A9EA-C8CBFD2E8FA2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BD7862EB-E8D6-994B-BBF4-6CC3FFF92DD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16AD8073-F55B-9144-802C-46456E9E217B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741D405E-8307-9B40-9F97-3F5DAC837EF3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4BFAB656-7532-6C41-9541-858AFF7D6765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A724F04A-1212-AA4C-B6F1-157BE88DDFD7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_16-9</Template>
  <TotalTime>0</TotalTime>
  <Words>170</Words>
  <Application>Microsoft Macintosh PowerPoint</Application>
  <PresentationFormat>Bildschirmpräsentation (16:9)</PresentationFormat>
  <Paragraphs>62</Paragraphs>
  <Slides>10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10</vt:i4>
      </vt:variant>
    </vt:vector>
  </HeadingPairs>
  <TitlesOfParts>
    <vt:vector size="21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DocBook Dokumentation</vt:lpstr>
      <vt:lpstr>PowerPoint-Präsentation</vt:lpstr>
      <vt:lpstr>XML</vt:lpstr>
      <vt:lpstr>SVG</vt:lpstr>
      <vt:lpstr>DocBook</vt:lpstr>
      <vt:lpstr>XSLT</vt:lpstr>
      <vt:lpstr>Ausblick MVC-Architecture und XQuery</vt:lpstr>
      <vt:lpstr>Ausblick MVC-Architecture and XQuery</vt:lpstr>
      <vt:lpstr>Ausblick MVC im DocBook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ouisa Luitz</dc:creator>
  <cp:lastModifiedBy>ge34civ</cp:lastModifiedBy>
  <cp:revision>40</cp:revision>
  <cp:lastPrinted>2015-07-30T14:04:45Z</cp:lastPrinted>
  <dcterms:created xsi:type="dcterms:W3CDTF">2019-11-21T08:12:12Z</dcterms:created>
  <dcterms:modified xsi:type="dcterms:W3CDTF">2019-11-26T07:39:55Z</dcterms:modified>
</cp:coreProperties>
</file>